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Lst>
  <p:notesMasterIdLst>
    <p:notesMasterId r:id="rId227"/>
  </p:notesMasterIdLst>
  <p:sldIdLst>
    <p:sldId id="257" r:id="rId4"/>
    <p:sldId id="10400" r:id="rId5"/>
    <p:sldId id="957" r:id="rId6"/>
    <p:sldId id="958" r:id="rId7"/>
    <p:sldId id="959" r:id="rId8"/>
    <p:sldId id="10411" r:id="rId9"/>
    <p:sldId id="370" r:id="rId10"/>
    <p:sldId id="371" r:id="rId11"/>
    <p:sldId id="261" r:id="rId12"/>
    <p:sldId id="962" r:id="rId13"/>
    <p:sldId id="10412" r:id="rId14"/>
    <p:sldId id="602" r:id="rId15"/>
    <p:sldId id="10413" r:id="rId16"/>
    <p:sldId id="369" r:id="rId17"/>
    <p:sldId id="266" r:id="rId18"/>
    <p:sldId id="594" r:id="rId19"/>
    <p:sldId id="10401" r:id="rId20"/>
    <p:sldId id="937" r:id="rId21"/>
    <p:sldId id="10414" r:id="rId22"/>
    <p:sldId id="963" r:id="rId23"/>
    <p:sldId id="324" r:id="rId24"/>
    <p:sldId id="10415" r:id="rId25"/>
    <p:sldId id="10416" r:id="rId26"/>
    <p:sldId id="2829" r:id="rId27"/>
    <p:sldId id="332" r:id="rId28"/>
    <p:sldId id="938" r:id="rId29"/>
    <p:sldId id="947" r:id="rId30"/>
    <p:sldId id="327" r:id="rId31"/>
    <p:sldId id="945" r:id="rId32"/>
    <p:sldId id="941" r:id="rId33"/>
    <p:sldId id="942" r:id="rId34"/>
    <p:sldId id="943" r:id="rId35"/>
    <p:sldId id="944" r:id="rId36"/>
    <p:sldId id="946" r:id="rId37"/>
    <p:sldId id="1005" r:id="rId38"/>
    <p:sldId id="609" r:id="rId39"/>
    <p:sldId id="966" r:id="rId40"/>
    <p:sldId id="967" r:id="rId41"/>
    <p:sldId id="971" r:id="rId42"/>
    <p:sldId id="972" r:id="rId43"/>
    <p:sldId id="973" r:id="rId44"/>
    <p:sldId id="974" r:id="rId45"/>
    <p:sldId id="975" r:id="rId46"/>
    <p:sldId id="980" r:id="rId47"/>
    <p:sldId id="968" r:id="rId48"/>
    <p:sldId id="976" r:id="rId49"/>
    <p:sldId id="977" r:id="rId50"/>
    <p:sldId id="1007" r:id="rId51"/>
    <p:sldId id="1003" r:id="rId52"/>
    <p:sldId id="611" r:id="rId53"/>
    <p:sldId id="948" r:id="rId54"/>
    <p:sldId id="612" r:id="rId55"/>
    <p:sldId id="613" r:id="rId56"/>
    <p:sldId id="614" r:id="rId57"/>
    <p:sldId id="616" r:id="rId58"/>
    <p:sldId id="949" r:id="rId59"/>
    <p:sldId id="950" r:id="rId60"/>
    <p:sldId id="951" r:id="rId61"/>
    <p:sldId id="952" r:id="rId62"/>
    <p:sldId id="955" r:id="rId63"/>
    <p:sldId id="953" r:id="rId64"/>
    <p:sldId id="1012" r:id="rId65"/>
    <p:sldId id="1016" r:id="rId66"/>
    <p:sldId id="1013" r:id="rId67"/>
    <p:sldId id="1014" r:id="rId68"/>
    <p:sldId id="1015" r:id="rId69"/>
    <p:sldId id="1018" r:id="rId70"/>
    <p:sldId id="1043" r:id="rId71"/>
    <p:sldId id="1019" r:id="rId72"/>
    <p:sldId id="1071" r:id="rId73"/>
    <p:sldId id="1036" r:id="rId74"/>
    <p:sldId id="1037" r:id="rId75"/>
    <p:sldId id="1038" r:id="rId76"/>
    <p:sldId id="1040" r:id="rId77"/>
    <p:sldId id="1020" r:id="rId78"/>
    <p:sldId id="1021" r:id="rId79"/>
    <p:sldId id="1022" r:id="rId80"/>
    <p:sldId id="1023" r:id="rId81"/>
    <p:sldId id="1024" r:id="rId82"/>
    <p:sldId id="1025" r:id="rId83"/>
    <p:sldId id="1026" r:id="rId84"/>
    <p:sldId id="1027" r:id="rId85"/>
    <p:sldId id="1030" r:id="rId86"/>
    <p:sldId id="1031" r:id="rId87"/>
    <p:sldId id="1044" r:id="rId88"/>
    <p:sldId id="1042" r:id="rId89"/>
    <p:sldId id="1039" r:id="rId90"/>
    <p:sldId id="1032" r:id="rId91"/>
    <p:sldId id="1033" r:id="rId92"/>
    <p:sldId id="1034" r:id="rId93"/>
    <p:sldId id="1045" r:id="rId94"/>
    <p:sldId id="1035" r:id="rId95"/>
    <p:sldId id="1046" r:id="rId96"/>
    <p:sldId id="1047" r:id="rId97"/>
    <p:sldId id="1028" r:id="rId98"/>
    <p:sldId id="1048" r:id="rId99"/>
    <p:sldId id="1049" r:id="rId100"/>
    <p:sldId id="1050" r:id="rId101"/>
    <p:sldId id="1051" r:id="rId102"/>
    <p:sldId id="1052" r:id="rId103"/>
    <p:sldId id="1029" r:id="rId104"/>
    <p:sldId id="1053" r:id="rId105"/>
    <p:sldId id="1054" r:id="rId106"/>
    <p:sldId id="1055" r:id="rId107"/>
    <p:sldId id="1056" r:id="rId108"/>
    <p:sldId id="1057" r:id="rId109"/>
    <p:sldId id="1072" r:id="rId110"/>
    <p:sldId id="1060" r:id="rId111"/>
    <p:sldId id="1062" r:id="rId112"/>
    <p:sldId id="1064" r:id="rId113"/>
    <p:sldId id="1061" r:id="rId114"/>
    <p:sldId id="1065" r:id="rId115"/>
    <p:sldId id="1066" r:id="rId116"/>
    <p:sldId id="1070" r:id="rId117"/>
    <p:sldId id="1067" r:id="rId118"/>
    <p:sldId id="1068" r:id="rId119"/>
    <p:sldId id="1069" r:id="rId120"/>
    <p:sldId id="1058" r:id="rId121"/>
    <p:sldId id="1073" r:id="rId122"/>
    <p:sldId id="1059" r:id="rId123"/>
    <p:sldId id="1074" r:id="rId124"/>
    <p:sldId id="1075" r:id="rId125"/>
    <p:sldId id="1078" r:id="rId126"/>
    <p:sldId id="1079" r:id="rId127"/>
    <p:sldId id="1080" r:id="rId128"/>
    <p:sldId id="1008" r:id="rId129"/>
    <p:sldId id="1081" r:id="rId130"/>
    <p:sldId id="1076" r:id="rId131"/>
    <p:sldId id="1077" r:id="rId132"/>
    <p:sldId id="1082" r:id="rId133"/>
    <p:sldId id="1083" r:id="rId134"/>
    <p:sldId id="1084" r:id="rId135"/>
    <p:sldId id="1085" r:id="rId136"/>
    <p:sldId id="1088" r:id="rId137"/>
    <p:sldId id="1089" r:id="rId138"/>
    <p:sldId id="1090" r:id="rId139"/>
    <p:sldId id="1091" r:id="rId140"/>
    <p:sldId id="1087" r:id="rId141"/>
    <p:sldId id="1086" r:id="rId142"/>
    <p:sldId id="1092" r:id="rId143"/>
    <p:sldId id="1098" r:id="rId144"/>
    <p:sldId id="1093" r:id="rId145"/>
    <p:sldId id="1094" r:id="rId146"/>
    <p:sldId id="1095" r:id="rId147"/>
    <p:sldId id="1096" r:id="rId148"/>
    <p:sldId id="1103" r:id="rId149"/>
    <p:sldId id="1118" r:id="rId150"/>
    <p:sldId id="1097" r:id="rId151"/>
    <p:sldId id="1099" r:id="rId152"/>
    <p:sldId id="1100" r:id="rId153"/>
    <p:sldId id="1104" r:id="rId154"/>
    <p:sldId id="1107" r:id="rId155"/>
    <p:sldId id="1106" r:id="rId156"/>
    <p:sldId id="1108" r:id="rId157"/>
    <p:sldId id="1109" r:id="rId158"/>
    <p:sldId id="1110" r:id="rId159"/>
    <p:sldId id="1111" r:id="rId160"/>
    <p:sldId id="1009" r:id="rId161"/>
    <p:sldId id="1101" r:id="rId162"/>
    <p:sldId id="1102" r:id="rId163"/>
    <p:sldId id="1119" r:id="rId164"/>
    <p:sldId id="665" r:id="rId165"/>
    <p:sldId id="1122" r:id="rId166"/>
    <p:sldId id="1120" r:id="rId167"/>
    <p:sldId id="1121" r:id="rId168"/>
    <p:sldId id="834" r:id="rId169"/>
    <p:sldId id="838" r:id="rId170"/>
    <p:sldId id="839" r:id="rId171"/>
    <p:sldId id="841" r:id="rId172"/>
    <p:sldId id="842" r:id="rId173"/>
    <p:sldId id="843" r:id="rId174"/>
    <p:sldId id="835" r:id="rId175"/>
    <p:sldId id="844" r:id="rId176"/>
    <p:sldId id="836" r:id="rId177"/>
    <p:sldId id="846" r:id="rId178"/>
    <p:sldId id="847" r:id="rId179"/>
    <p:sldId id="868" r:id="rId180"/>
    <p:sldId id="869" r:id="rId181"/>
    <p:sldId id="872" r:id="rId182"/>
    <p:sldId id="870" r:id="rId183"/>
    <p:sldId id="1010" r:id="rId184"/>
    <p:sldId id="1112" r:id="rId185"/>
    <p:sldId id="1114" r:id="rId186"/>
    <p:sldId id="1113" r:id="rId187"/>
    <p:sldId id="1125" r:id="rId188"/>
    <p:sldId id="1129" r:id="rId189"/>
    <p:sldId id="1126" r:id="rId190"/>
    <p:sldId id="1123" r:id="rId191"/>
    <p:sldId id="1124" r:id="rId192"/>
    <p:sldId id="1128" r:id="rId193"/>
    <p:sldId id="1131" r:id="rId194"/>
    <p:sldId id="1127" r:id="rId195"/>
    <p:sldId id="1130" r:id="rId196"/>
    <p:sldId id="1132" r:id="rId197"/>
    <p:sldId id="1133" r:id="rId198"/>
    <p:sldId id="1134" r:id="rId199"/>
    <p:sldId id="1135" r:id="rId200"/>
    <p:sldId id="1115" r:id="rId201"/>
    <p:sldId id="1116" r:id="rId202"/>
    <p:sldId id="1117" r:id="rId203"/>
    <p:sldId id="1105" r:id="rId204"/>
    <p:sldId id="1011" r:id="rId205"/>
    <p:sldId id="10403" r:id="rId206"/>
    <p:sldId id="10404" r:id="rId207"/>
    <p:sldId id="10405" r:id="rId208"/>
    <p:sldId id="10402" r:id="rId209"/>
    <p:sldId id="10407" r:id="rId210"/>
    <p:sldId id="10406" r:id="rId211"/>
    <p:sldId id="10409" r:id="rId212"/>
    <p:sldId id="10421" r:id="rId213"/>
    <p:sldId id="10417" r:id="rId214"/>
    <p:sldId id="10408" r:id="rId215"/>
    <p:sldId id="10422" r:id="rId216"/>
    <p:sldId id="10423" r:id="rId217"/>
    <p:sldId id="10424" r:id="rId218"/>
    <p:sldId id="936" r:id="rId219"/>
    <p:sldId id="10418" r:id="rId220"/>
    <p:sldId id="824" r:id="rId221"/>
    <p:sldId id="810" r:id="rId222"/>
    <p:sldId id="10420" r:id="rId223"/>
    <p:sldId id="822" r:id="rId224"/>
    <p:sldId id="10419" r:id="rId225"/>
    <p:sldId id="296" r:id="rId2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959"/>
            <p14:sldId id="10411"/>
            <p14:sldId id="370"/>
            <p14:sldId id="371"/>
            <p14:sldId id="261"/>
            <p14:sldId id="962"/>
          </p14:sldIdLst>
        </p14:section>
        <p14:section name="(5m) Intro" id="{71A0EFC3-1B77-42BC-B22F-19AAC7036864}">
          <p14:sldIdLst>
            <p14:sldId id="10412"/>
            <p14:sldId id="602"/>
            <p14:sldId id="10413"/>
            <p14:sldId id="369"/>
            <p14:sldId id="266"/>
            <p14:sldId id="594"/>
            <p14:sldId id="10401"/>
            <p14:sldId id="937"/>
            <p14:sldId id="10414"/>
            <p14:sldId id="963"/>
            <p14:sldId id="324"/>
            <p14:sldId id="10415"/>
            <p14:sldId id="10416"/>
            <p14:sldId id="2829"/>
            <p14:sldId id="332"/>
            <p14:sldId id="938"/>
            <p14:sldId id="947"/>
            <p14:sldId id="327"/>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06"/>
            <p14:sldId id="10409"/>
            <p14:sldId id="10421"/>
            <p14:sldId id="10417"/>
            <p14:sldId id="10408"/>
            <p14:sldId id="10422"/>
            <p14:sldId id="10423"/>
            <p14:sldId id="10424"/>
          </p14:sldIdLst>
        </p14:section>
        <p14:section name="END" id="{EBDEB4E2-9392-4324-974B-2EC2F17A42B0}">
          <p14:sldIdLst>
            <p14:sldId id="936"/>
            <p14:sldId id="10418"/>
            <p14:sldId id="824"/>
            <p14:sldId id="810"/>
            <p14:sldId id="10420"/>
            <p14:sldId id="822"/>
            <p14:sldId id="10419"/>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FF"/>
    <a:srgbClr val="33CCCC"/>
    <a:srgbClr val="008080"/>
    <a:srgbClr val="0075D6"/>
    <a:srgbClr val="742774"/>
    <a:srgbClr val="F2C812"/>
    <a:srgbClr val="575352"/>
    <a:srgbClr val="FFFFFF"/>
    <a:srgbClr val="262626"/>
    <a:srgbClr val="8E98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136" autoAdjust="0"/>
    <p:restoredTop sz="87540" autoAdjust="0"/>
  </p:normalViewPr>
  <p:slideViewPr>
    <p:cSldViewPr snapToGrid="0">
      <p:cViewPr>
        <p:scale>
          <a:sx n="100" d="100"/>
          <a:sy n="100" d="100"/>
        </p:scale>
        <p:origin x="966" y="270"/>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notesMaster" Target="notesMasters/notesMaster1.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 Type="http://schemas.openxmlformats.org/officeDocument/2006/relationships/slide" Target="slides/slide20.xml"/><Relationship Id="rId119" Type="http://schemas.openxmlformats.org/officeDocument/2006/relationships/slide" Target="slides/slide116.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presProps" Target="presProps.xml"/><Relationship Id="rId13" Type="http://schemas.openxmlformats.org/officeDocument/2006/relationships/slide" Target="slides/slide10.xml"/><Relationship Id="rId109" Type="http://schemas.openxmlformats.org/officeDocument/2006/relationships/slide" Target="slides/slide106.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viewProps" Target="viewProps.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theme" Target="theme/theme1.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79" Type="http://schemas.openxmlformats.org/officeDocument/2006/relationships/slide" Target="slides/slide176.xml"/><Relationship Id="rId195" Type="http://schemas.openxmlformats.org/officeDocument/2006/relationships/slide" Target="slides/slide192.xml"/><Relationship Id="rId209" Type="http://schemas.openxmlformats.org/officeDocument/2006/relationships/slide" Target="slides/slide206.xml"/><Relationship Id="rId190" Type="http://schemas.openxmlformats.org/officeDocument/2006/relationships/slide" Target="slides/slide187.xml"/><Relationship Id="rId204" Type="http://schemas.openxmlformats.org/officeDocument/2006/relationships/slide" Target="slides/slide201.xml"/><Relationship Id="rId220" Type="http://schemas.openxmlformats.org/officeDocument/2006/relationships/slide" Target="slides/slide217.xml"/><Relationship Id="rId225" Type="http://schemas.openxmlformats.org/officeDocument/2006/relationships/slide" Target="slides/slide222.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48" Type="http://schemas.openxmlformats.org/officeDocument/2006/relationships/slide" Target="slides/slide145.xml"/><Relationship Id="rId164" Type="http://schemas.openxmlformats.org/officeDocument/2006/relationships/slide" Target="slides/slide161.xml"/><Relationship Id="rId169" Type="http://schemas.openxmlformats.org/officeDocument/2006/relationships/slide" Target="slides/slide166.xml"/><Relationship Id="rId185" Type="http://schemas.openxmlformats.org/officeDocument/2006/relationships/slide" Target="slides/slide182.xml"/><Relationship Id="rId4" Type="http://schemas.openxmlformats.org/officeDocument/2006/relationships/slide" Target="slides/slide1.xml"/><Relationship Id="rId9" Type="http://schemas.openxmlformats.org/officeDocument/2006/relationships/slide" Target="slides/slide6.xml"/><Relationship Id="rId180" Type="http://schemas.openxmlformats.org/officeDocument/2006/relationships/slide" Target="slides/slide177.xml"/><Relationship Id="rId210" Type="http://schemas.openxmlformats.org/officeDocument/2006/relationships/slide" Target="slides/slide207.xml"/><Relationship Id="rId215" Type="http://schemas.openxmlformats.org/officeDocument/2006/relationships/slide" Target="slides/slide212.xml"/><Relationship Id="rId26" Type="http://schemas.openxmlformats.org/officeDocument/2006/relationships/slide" Target="slides/slide23.xml"/><Relationship Id="rId231" Type="http://schemas.openxmlformats.org/officeDocument/2006/relationships/tableStyles" Target="tableStyles.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18" Type="http://schemas.openxmlformats.org/officeDocument/2006/relationships/slide" Target="slides/slide15.xml"/><Relationship Id="rId39" Type="http://schemas.openxmlformats.org/officeDocument/2006/relationships/slide" Target="slides/slide36.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 Type="http://schemas.openxmlformats.org/officeDocument/2006/relationships/slideMaster" Target="slideMasters/slideMaster2.xml"/><Relationship Id="rId29" Type="http://schemas.openxmlformats.org/officeDocument/2006/relationships/slide" Target="slides/slide26.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2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13" Type="http://schemas.openxmlformats.org/officeDocument/2006/relationships/hyperlink" Target="https://docs.microsoft.com/en-us/powerapps/maker/canvas-apps/open-and-run-a-sample-app"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12" Type="http://schemas.openxmlformats.org/officeDocument/2006/relationships/hyperlink" Target="https://docs.microsoft.com/en-us/powerapps/maker/index#canvas-apps" TargetMode="External"/><Relationship Id="rId2" Type="http://schemas.openxmlformats.org/officeDocument/2006/relationships/slide" Target="../slides/slide218.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11" Type="http://schemas.openxmlformats.org/officeDocument/2006/relationships/hyperlink" Target="https://docs.microsoft.com/en-us/learn/browse/?products=powerapps&amp;resource_type=learning%20path#step-1"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 Id="rId14" Type="http://schemas.openxmlformats.org/officeDocument/2006/relationships/hyperlink" Target="https://docs.microsoft.com/en-us/powerapps/maker/canvas-apps/webinars-listing" TargetMode="External"/></Relationships>
</file>

<file path=ppt/notesSlides/_rels/notesSlide207.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5624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4/2019 2: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4/2019 2: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4/2019 2: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5470388"/>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065694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5027374"/>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915762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a:p>
            <a:r>
              <a:rPr lang="en-US" dirty="0"/>
              <a:t>Popup/Modal Screen: https://youtu.be/SaDEVOgOlYY </a:t>
            </a:r>
          </a:p>
          <a:p>
            <a:r>
              <a:rPr lang="en-US" dirty="0"/>
              <a:t>Microsoft Learn: </a:t>
            </a:r>
            <a:r>
              <a:rPr lang="en-US" dirty="0">
                <a:hlinkClick r:id="rId11"/>
              </a:rPr>
              <a:t>https://docs.microsoft.com/en-us/learn/browse/?products=powerapps&amp;resource_type=learning%2520path#step-1</a:t>
            </a:r>
            <a:endParaRPr lang="en-US" dirty="0"/>
          </a:p>
          <a:p>
            <a:r>
              <a:rPr lang="en-US" dirty="0">
                <a:hlinkClick r:id="rId12"/>
              </a:rPr>
              <a:t>https://docs.microsoft.com/en-us/powerapps/maker/index#canvas-apps</a:t>
            </a:r>
            <a:endParaRPr lang="en-US" dirty="0">
              <a:hlinkClick r:id="rId13"/>
            </a:endParaRPr>
          </a:p>
          <a:p>
            <a:r>
              <a:rPr lang="en-US" dirty="0">
                <a:hlinkClick r:id="rId13"/>
              </a:rPr>
              <a:t>https://docs.microsoft.com/en-us/powerapps/maker/canvas-apps/open-and-run-a-sample-app</a:t>
            </a:r>
            <a:endParaRPr lang="en-US" dirty="0">
              <a:hlinkClick r:id="rId14"/>
            </a:endParaRPr>
          </a:p>
          <a:p>
            <a:r>
              <a:rPr lang="en-US" dirty="0">
                <a:hlinkClick r:id="rId14"/>
              </a:rPr>
              <a:t>https://docs.microsoft.com/en-us/powerapps/maker/canvas-apps/webinars-listing</a:t>
            </a:r>
            <a:endParaRPr lang="en-US" dirty="0"/>
          </a:p>
          <a:p>
            <a:r>
              <a:rPr lang="en-US" dirty="0"/>
              <a:t>ROI Case Study: https://go.microsoft.com/fwlink/?LinkId=2005303&amp;clcid=0x409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149243"/>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3423460"/>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23</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4/2019 2: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6</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4/2019 2:2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24/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7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0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3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2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24/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24/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2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2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24/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24/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24/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4.wdp"/></Relationships>
</file>

<file path=ppt/slides/_rels/slide10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0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1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3.xml"/><Relationship Id="rId1" Type="http://schemas.openxmlformats.org/officeDocument/2006/relationships/slideLayout" Target="../slideLayouts/slideLayout7.xml"/><Relationship Id="rId5" Type="http://schemas.openxmlformats.org/officeDocument/2006/relationships/image" Target="../media/image159.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8.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7" Type="http://schemas.openxmlformats.org/officeDocument/2006/relationships/image" Target="../media/image101.sv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69.sv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5.png"/></Relationships>
</file>

<file path=ppt/slides/_rels/slide129.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01.sv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18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gif"/><Relationship Id="rId4" Type="http://schemas.openxmlformats.org/officeDocument/2006/relationships/image" Target="../media/image31.png"/></Relationships>
</file>

<file path=ppt/slides/_rels/slide14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4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6.png"/><Relationship Id="rId7" Type="http://schemas.openxmlformats.org/officeDocument/2006/relationships/image" Target="../media/image101.sv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7.png"/><Relationship Id="rId7" Type="http://schemas.openxmlformats.org/officeDocument/2006/relationships/image" Target="../media/image101.sv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01.sv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1.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59.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4.png"/></Relationships>
</file>

<file path=ppt/slides/_rels/slide160.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1.png"/></Relationships>
</file>

<file path=ppt/slides/_rels/slide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62.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2.png"/><Relationship Id="rId7" Type="http://schemas.openxmlformats.org/officeDocument/2006/relationships/image" Target="../media/image204.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3.png"/></Relationships>
</file>

<file path=ppt/slides/_rels/slide163.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5.png"/><Relationship Id="rId10" Type="http://schemas.openxmlformats.org/officeDocument/2006/relationships/image" Target="../media/image208.png"/><Relationship Id="rId4" Type="http://schemas.openxmlformats.org/officeDocument/2006/relationships/hyperlink" Target="http://fleitasarts.com/" TargetMode="External"/><Relationship Id="rId9" Type="http://schemas.openxmlformats.org/officeDocument/2006/relationships/image" Target="../media/image207.png"/></Relationships>
</file>

<file path=ppt/slides/_rels/slide164.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6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211.png"/><Relationship Id="rId4" Type="http://schemas.openxmlformats.org/officeDocument/2006/relationships/image" Target="../media/image210.png"/><Relationship Id="rId9" Type="http://schemas.openxmlformats.org/officeDocument/2006/relationships/image" Target="../media/image5.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1.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2.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3.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5.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4.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5.png"/></Relationships>
</file>

<file path=ppt/slides/_rels/slide1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6.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7.png"/></Relationships>
</file>

<file path=ppt/slides/_rels/slide1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8.png"/></Relationships>
</file>

<file path=ppt/slides/_rels/slide1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9.png"/></Relationships>
</file>

<file path=ppt/slides/_rels/slide1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0.png"/></Relationships>
</file>

<file path=ppt/slides/_rels/slide17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1.png"/></Relationships>
</file>

<file path=ppt/slides/_rels/slide1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2.png"/></Relationships>
</file>

<file path=ppt/slides/_rels/slide17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02.png"/><Relationship Id="rId7" Type="http://schemas.openxmlformats.org/officeDocument/2006/relationships/image" Target="../media/image205.pn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224.png"/><Relationship Id="rId4" Type="http://schemas.openxmlformats.org/officeDocument/2006/relationships/image" Target="../media/image223.png"/><Relationship Id="rId9"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6.png"/></Relationships>
</file>

<file path=ppt/slides/_rels/slide18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2.png"/><Relationship Id="rId7" Type="http://schemas.openxmlformats.org/officeDocument/2006/relationships/hyperlink" Target="http://fleitasarts.com/" TargetMode="External"/><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5.png"/></Relationships>
</file>

<file path=ppt/slides/_rels/slide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82.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2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3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33.svg"/><Relationship Id="rId5" Type="http://schemas.openxmlformats.org/officeDocument/2006/relationships/image" Target="../media/image232.png"/><Relationship Id="rId4" Type="http://schemas.openxmlformats.org/officeDocument/2006/relationships/image" Target="../media/image231.png"/></Relationships>
</file>

<file path=ppt/slides/_rels/slide188.xml.rels><?xml version="1.0" encoding="UTF-8" standalone="yes"?>
<Relationships xmlns="http://schemas.openxmlformats.org/package/2006/relationships"><Relationship Id="rId3" Type="http://schemas.openxmlformats.org/officeDocument/2006/relationships/image" Target="../media/image202.png"/><Relationship Id="rId7" Type="http://schemas.openxmlformats.org/officeDocument/2006/relationships/image" Target="../media/image235.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37.svg"/><Relationship Id="rId4" Type="http://schemas.openxmlformats.org/officeDocument/2006/relationships/image" Target="../media/image236.png"/></Relationships>
</file>

<file path=ppt/slides/_rels/slide1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192.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101.sv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101.sv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24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24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98.xml.rels><?xml version="1.0" encoding="UTF-8" standalone="yes"?>
<Relationships xmlns="http://schemas.openxmlformats.org/package/2006/relationships"><Relationship Id="rId3" Type="http://schemas.openxmlformats.org/officeDocument/2006/relationships/image" Target="../media/image243.png"/><Relationship Id="rId7" Type="http://schemas.openxmlformats.org/officeDocument/2006/relationships/image" Target="../media/image101.sv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1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0.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101.sv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01.sv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1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5.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1.svg"/><Relationship Id="rId4" Type="http://schemas.openxmlformats.org/officeDocument/2006/relationships/image" Target="../media/image100.png"/></Relationships>
</file>

<file path=ppt/slides/_rels/slide204.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1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1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97.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1.png"/><Relationship Id="rId4" Type="http://schemas.openxmlformats.org/officeDocument/2006/relationships/image" Target="../media/image40.png"/></Relationships>
</file>

<file path=ppt/slides/_rels/slide210.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98.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1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99.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1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00.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1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01.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1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02.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1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03.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16.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hyperlink" Target="http://fleitasarts.com/" TargetMode="External"/><Relationship Id="rId7" Type="http://schemas.openxmlformats.org/officeDocument/2006/relationships/image" Target="../media/image202.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255.png"/><Relationship Id="rId5" Type="http://schemas.openxmlformats.org/officeDocument/2006/relationships/image" Target="../media/image254.png"/><Relationship Id="rId4" Type="http://schemas.openxmlformats.org/officeDocument/2006/relationships/image" Target="../media/image5.png"/></Relationships>
</file>

<file path=ppt/slides/_rels/slide2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4.wdp"/></Relationships>
</file>

<file path=ppt/slides/_rels/slide218.xml.rels><?xml version="1.0" encoding="UTF-8" standalone="yes"?>
<Relationships xmlns="http://schemas.openxmlformats.org/package/2006/relationships"><Relationship Id="rId8" Type="http://schemas.openxmlformats.org/officeDocument/2006/relationships/image" Target="../media/image258.png"/><Relationship Id="rId3" Type="http://schemas.openxmlformats.org/officeDocument/2006/relationships/image" Target="../media/image257.png"/><Relationship Id="rId7" Type="http://schemas.openxmlformats.org/officeDocument/2006/relationships/image" Target="../media/image16.png"/><Relationship Id="rId2" Type="http://schemas.openxmlformats.org/officeDocument/2006/relationships/notesSlide" Target="../notesSlides/notesSlide206.xml"/><Relationship Id="rId1" Type="http://schemas.openxmlformats.org/officeDocument/2006/relationships/slideLayout" Target="../slideLayouts/slideLayout38.xml"/><Relationship Id="rId6" Type="http://schemas.openxmlformats.org/officeDocument/2006/relationships/image" Target="../media/image15.png"/><Relationship Id="rId5" Type="http://schemas.openxmlformats.org/officeDocument/2006/relationships/hyperlink" Target="http://fleitasarts.com/" TargetMode="External"/><Relationship Id="rId4" Type="http://schemas.microsoft.com/office/2007/relationships/hdphoto" Target="../media/hdphoto7.wdp"/><Relationship Id="rId9" Type="http://schemas.microsoft.com/office/2007/relationships/hdphoto" Target="../media/hdphoto8.wdp"/></Relationships>
</file>

<file path=ppt/slides/_rels/slide219.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hyperlink" Target="http://fleitasarts.com/" TargetMode="External"/><Relationship Id="rId7" Type="http://schemas.openxmlformats.org/officeDocument/2006/relationships/image" Target="../media/image202.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255.png"/><Relationship Id="rId5" Type="http://schemas.openxmlformats.org/officeDocument/2006/relationships/image" Target="../media/image254.png"/><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0.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208.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4.wdp"/></Relationships>
</file>

<file path=ppt/slides/_rels/slide221.xml.rels><?xml version="1.0" encoding="UTF-8" standalone="yes"?>
<Relationships xmlns="http://schemas.openxmlformats.org/package/2006/relationships"><Relationship Id="rId8" Type="http://schemas.openxmlformats.org/officeDocument/2006/relationships/image" Target="../media/image260.png"/><Relationship Id="rId13" Type="http://schemas.openxmlformats.org/officeDocument/2006/relationships/hyperlink" Target="https://github.com/hfleitas" TargetMode="External"/><Relationship Id="rId3" Type="http://schemas.openxmlformats.org/officeDocument/2006/relationships/image" Target="../media/image259.png"/><Relationship Id="rId7" Type="http://schemas.openxmlformats.org/officeDocument/2006/relationships/hyperlink" Target="http://fleitasarts.com/" TargetMode="External"/><Relationship Id="rId12" Type="http://schemas.openxmlformats.org/officeDocument/2006/relationships/image" Target="../media/image261.png"/><Relationship Id="rId17" Type="http://schemas.openxmlformats.org/officeDocument/2006/relationships/image" Target="../media/image16.png"/><Relationship Id="rId2" Type="http://schemas.openxmlformats.org/officeDocument/2006/relationships/notesSlide" Target="../notesSlides/notesSlide209.xml"/><Relationship Id="rId16" Type="http://schemas.openxmlformats.org/officeDocument/2006/relationships/image" Target="../media/image1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8.wdp"/><Relationship Id="rId10" Type="http://schemas.openxmlformats.org/officeDocument/2006/relationships/hyperlink" Target="http://facebook.com/hiramfleitas" TargetMode="External"/><Relationship Id="rId4" Type="http://schemas.microsoft.com/office/2007/relationships/hdphoto" Target="../media/hdphoto7.wdp"/><Relationship Id="rId9" Type="http://schemas.microsoft.com/office/2007/relationships/hdphoto" Target="../media/hdphoto9.wdp"/><Relationship Id="rId14" Type="http://schemas.openxmlformats.org/officeDocument/2006/relationships/image" Target="../media/image258.png"/></Relationships>
</file>

<file path=ppt/slides/_rels/slide222.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2.png"/><Relationship Id="rId3" Type="http://schemas.openxmlformats.org/officeDocument/2006/relationships/image" Target="../media/image14.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6.png"/><Relationship Id="rId12" Type="http://schemas.openxmlformats.org/officeDocument/2006/relationships/image" Target="../media/image20.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210.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3.png"/><Relationship Id="rId1" Type="http://schemas.openxmlformats.org/officeDocument/2006/relationships/slideLayout" Target="../slideLayouts/slideLayout38.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8.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5.wdp"/><Relationship Id="rId9" Type="http://schemas.openxmlformats.org/officeDocument/2006/relationships/image" Target="../media/image17.png"/><Relationship Id="rId14" Type="http://schemas.openxmlformats.org/officeDocument/2006/relationships/image" Target="../media/image21.png"/><Relationship Id="rId22" Type="http://schemas.openxmlformats.org/officeDocument/2006/relationships/image" Target="../media/image24.png"/></Relationships>
</file>

<file path=ppt/slides/_rels/slide223.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image" Target="../media/image52.png"/><Relationship Id="rId11" Type="http://schemas.openxmlformats.org/officeDocument/2006/relationships/image" Target="../media/image57.jpeg"/><Relationship Id="rId5" Type="http://schemas.openxmlformats.org/officeDocument/2006/relationships/image" Target="../media/image51.gif"/><Relationship Id="rId15" Type="http://schemas.openxmlformats.org/officeDocument/2006/relationships/image" Target="../media/image5.png"/><Relationship Id="rId10" Type="http://schemas.openxmlformats.org/officeDocument/2006/relationships/image" Target="../media/image56.jpe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1.gif"/><Relationship Id="rId5" Type="http://schemas.openxmlformats.org/officeDocument/2006/relationships/hyperlink" Target="https://go.microsoft.com/fwlink/?LinkId=2083007&amp;clcid=0x409" TargetMode="External"/><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hyperlink" Target="https://www.gartner.com/doc/reprints?id=1-57IQ201&amp;ct=180717&amp;st=sb"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64.jpeg"/><Relationship Id="rId4" Type="http://schemas.openxmlformats.org/officeDocument/2006/relationships/image" Target="../media/image63.png"/></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5.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6.jpeg"/></Relationships>
</file>

<file path=ppt/slides/_rels/slide3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7.jpeg"/></Relationships>
</file>

<file path=ppt/slides/_rels/slide3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8.jpeg"/></Relationships>
</file>

<file path=ppt/slides/_rels/slide3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9.jpeg"/></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5.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6.svg"/><Relationship Id="rId4" Type="http://schemas.openxmlformats.org/officeDocument/2006/relationships/image" Target="../media/image85.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5.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6.svg"/><Relationship Id="rId4" Type="http://schemas.openxmlformats.org/officeDocument/2006/relationships/image" Target="../media/image85.png"/></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5.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1.svg"/><Relationship Id="rId4" Type="http://schemas.openxmlformats.org/officeDocument/2006/relationships/image" Target="../media/image100.png"/></Relationships>
</file>

<file path=ppt/slides/_rels/slide6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5.png"/></Relationships>
</file>

<file path=ppt/slides/_rels/slide6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8.png"/></Relationships>
</file>

<file path=ppt/slides/_rels/slide6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2.svg"/><Relationship Id="rId4" Type="http://schemas.openxmlformats.org/officeDocument/2006/relationships/image" Target="../media/image111.png"/></Relationships>
</file>

<file path=ppt/slides/_rels/slide7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114.png"/><Relationship Id="rId4" Type="http://schemas.openxmlformats.org/officeDocument/2006/relationships/image" Target="../media/image5.png"/></Relationships>
</file>

<file path=ppt/slides/_rels/slide7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4.wdp"/></Relationships>
</file>

<file path=ppt/slides/_rels/slide8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01.sv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2.png"/><Relationship Id="rId3" Type="http://schemas.openxmlformats.org/officeDocument/2006/relationships/image" Target="../media/image14.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6.png"/><Relationship Id="rId12" Type="http://schemas.openxmlformats.org/officeDocument/2006/relationships/image" Target="../media/image20.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6.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3.png"/><Relationship Id="rId1" Type="http://schemas.openxmlformats.org/officeDocument/2006/relationships/slideLayout" Target="../slideLayouts/slideLayout38.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8.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5.wdp"/><Relationship Id="rId9" Type="http://schemas.openxmlformats.org/officeDocument/2006/relationships/image" Target="../media/image17.png"/><Relationship Id="rId14" Type="http://schemas.openxmlformats.org/officeDocument/2006/relationships/image" Target="../media/image21.png"/><Relationship Id="rId22" Type="http://schemas.openxmlformats.org/officeDocument/2006/relationships/image" Target="../media/image24.png"/></Relationships>
</file>

<file path=ppt/slides/_rels/slide9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QL Saturday 864</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South Florida, United Sates</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June 8,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95" y="1"/>
            <a:ext cx="1827530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530858"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2191205" y="3396413"/>
            <a:ext cx="1701427"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4900384" y="3396413"/>
            <a:ext cx="239123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a:solidFill>
                  <a:schemeClr val="bg1"/>
                </a:solidFill>
                <a:latin typeface="Segoe UI Semilight" panose="020B0402040204020203" pitchFamily="34" charset="0"/>
                <a:cs typeface="Segoe UI Semilight" panose="020B0402040204020203" pitchFamily="34" charset="0"/>
              </a:rPr>
              <a:t>Application development</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8102750" y="3385344"/>
            <a:ext cx="2094676"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552974" y="2665373"/>
            <a:ext cx="20319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03196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778623"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871242" y="5684872"/>
            <a:ext cx="129169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mmon </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16549" y="5735185"/>
            <a:ext cx="1215846"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639026"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8891753"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358548" y="0"/>
            <a:ext cx="114749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Run your business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in real time with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3" name="Picture 12" descr="A close up of a logo&#10;&#10;Description generated with very high confidence">
            <a:hlinkClick r:id="rId6"/>
            <a:extLst>
              <a:ext uri="{FF2B5EF4-FFF2-40B4-BE49-F238E27FC236}">
                <a16:creationId xmlns:a16="http://schemas.microsoft.com/office/drawing/2014/main" id="{F2692F4C-4937-4684-A210-6D59F9E69D9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marL="0" marR="0" lvl="0" indent="0" algn="l" defTabSz="932472" rtl="0" eaLnBrk="1" fontAlgn="base" latinLnBrk="0" hangingPunct="1">
              <a:lnSpc>
                <a:spcPct val="95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Ask questions </a:t>
            </a:r>
            <a:b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b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Parallelogram 1">
            <a:extLst>
              <a:ext uri="{FF2B5EF4-FFF2-40B4-BE49-F238E27FC236}">
                <a16:creationId xmlns:a16="http://schemas.microsoft.com/office/drawing/2014/main" id="{92C45EB5-93E0-4C0F-999A-1C6608B3633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55578DEB-DFF3-42FF-9314-0D8ECD8FF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604670" y="-1630"/>
            <a:ext cx="10982659" cy="685963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07E6964-3D16-4727-97A9-E6402C4F2FF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3836245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755228" y="3884578"/>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81A10514-D97A-40BE-B418-A3FF35EEE46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21877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29C181DA-FFD9-459B-8B18-375C228795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757279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69100D25-A86C-4C37-8F6A-BBD548CA774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0464935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B3B225D7-5C43-4B80-8A5B-1E2C0A055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0783114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5985741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0826449"/>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2A367C41-3196-4C7D-92A7-528866022644}"/>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08667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3708A3C5-EE9A-4D4F-9196-D7DF6EB0320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22817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BB8DC4A0-7270-4B36-BCC2-751803C16F97}"/>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8195722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202B6815-7948-4BFA-888F-8FCABE6F443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274804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202B6815-7948-4BFA-888F-8FCABE6F443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54561655"/>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202B6815-7948-4BFA-888F-8FCABE6F443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5217744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202B6815-7948-4BFA-888F-8FCABE6F443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3089801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Summary</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239552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PowerApps</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Microsoft Flow</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a:t>
            </a:r>
          </a:p>
          <a:p>
            <a:pPr marL="22860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Stories Gallery</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iscuss, Connect, Feedback</a:t>
            </a:r>
            <a:endParaRPr lang="en-US" sz="2000"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A6B7E215-3213-4075-AFA5-C0E9DB03AF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6" name="Group 15">
            <a:extLst>
              <a:ext uri="{FF2B5EF4-FFF2-40B4-BE49-F238E27FC236}">
                <a16:creationId xmlns:a16="http://schemas.microsoft.com/office/drawing/2014/main" id="{41596F42-33F4-4C3C-A5B9-BCBD14C2B150}"/>
              </a:ext>
            </a:extLst>
          </p:cNvPr>
          <p:cNvGrpSpPr/>
          <p:nvPr/>
        </p:nvGrpSpPr>
        <p:grpSpPr>
          <a:xfrm>
            <a:off x="3620533" y="-96314"/>
            <a:ext cx="10476219" cy="6976015"/>
            <a:chOff x="3620533" y="-96314"/>
            <a:chExt cx="10476219" cy="6976015"/>
          </a:xfrm>
        </p:grpSpPr>
        <p:grpSp>
          <p:nvGrpSpPr>
            <p:cNvPr id="17" name="Group 16">
              <a:extLst>
                <a:ext uri="{FF2B5EF4-FFF2-40B4-BE49-F238E27FC236}">
                  <a16:creationId xmlns:a16="http://schemas.microsoft.com/office/drawing/2014/main" id="{CC5EDC50-4316-4FBF-84DD-9070BB8E0EC8}"/>
                </a:ext>
              </a:extLst>
            </p:cNvPr>
            <p:cNvGrpSpPr/>
            <p:nvPr/>
          </p:nvGrpSpPr>
          <p:grpSpPr>
            <a:xfrm>
              <a:off x="3620533" y="-96314"/>
              <a:ext cx="10476219" cy="6976015"/>
              <a:chOff x="3798333" y="-96314"/>
              <a:chExt cx="10476219" cy="6976015"/>
            </a:xfrm>
          </p:grpSpPr>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FDA3CFE3-3533-429D-9D2D-7D25290B4F8C}"/>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18" name="Picture 17">
              <a:extLst>
                <a:ext uri="{FF2B5EF4-FFF2-40B4-BE49-F238E27FC236}">
                  <a16:creationId xmlns:a16="http://schemas.microsoft.com/office/drawing/2014/main" id="{58FA3B84-830C-407E-BBF2-822E129FBE72}"/>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0" name="Picture 19">
              <a:extLst>
                <a:ext uri="{FF2B5EF4-FFF2-40B4-BE49-F238E27FC236}">
                  <a16:creationId xmlns:a16="http://schemas.microsoft.com/office/drawing/2014/main" id="{7DC27E76-1281-4A6B-B56E-B10BA5D65CC1}"/>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9274" y="1209675"/>
            <a:ext cx="16916348" cy="5629972"/>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microsoft">
            <a:extLst>
              <a:ext uri="{FF2B5EF4-FFF2-40B4-BE49-F238E27FC236}">
                <a16:creationId xmlns:a16="http://schemas.microsoft.com/office/drawing/2014/main" id="{A788F532-9FED-46BF-B360-4BF26B40C411}"/>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010972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5807"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39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85168201"/>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DCC953-6E38-4D75-929A-304E3E91671D}"/>
              </a:ext>
            </a:extLst>
          </p:cNvPr>
          <p:cNvPicPr>
            <a:picLocks noChangeAspect="1"/>
          </p:cNvPicPr>
          <p:nvPr/>
        </p:nvPicPr>
        <p:blipFill rotWithShape="1">
          <a:blip r:embed="rId3"/>
          <a:srcRect l="157" t="10301" r="1619" b="5796"/>
          <a:stretch/>
        </p:blipFill>
        <p:spPr>
          <a:xfrm>
            <a:off x="1" y="1240473"/>
            <a:ext cx="12192000" cy="5645847"/>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Apps.com</a:t>
            </a:r>
            <a:endParaRPr lang="en-AU" sz="3600" b="1" dirty="0">
              <a:latin typeface="Segoe UI" panose="020B0502040204020203" pitchFamily="34" charset="0"/>
              <a:cs typeface="Segoe UI" panose="020B0502040204020203" pitchFamily="34" charset="0"/>
            </a:endParaRPr>
          </a:p>
        </p:txBody>
      </p:sp>
      <p:sp>
        <p:nvSpPr>
          <p:cNvPr id="6" name="Parallelogram 1">
            <a:extLst>
              <a:ext uri="{FF2B5EF4-FFF2-40B4-BE49-F238E27FC236}">
                <a16:creationId xmlns:a16="http://schemas.microsoft.com/office/drawing/2014/main" id="{1E3FBD8A-2295-42E5-86CD-FA2C6FFC327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8790670A-5D1C-468C-A378-75526186AD5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15357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224106" y="1"/>
            <a:ext cx="11743788" cy="686095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725662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cap="none" spc="-100" dirty="0">
                <a:solidFill>
                  <a:schemeClr val="tx1"/>
                </a:solidFill>
                <a:latin typeface="Segoe UI Semibold" panose="020B0702040204020203" pitchFamily="34" charset="0"/>
                <a:cs typeface="Segoe UI Semibold" panose="020B0702040204020203" pitchFamily="34" charset="0"/>
              </a:rPr>
              <a:t>Embed and</a:t>
            </a:r>
            <a:br>
              <a:rPr lang="en-US" sz="2800" cap="none" spc="-100" dirty="0">
                <a:solidFill>
                  <a:schemeClr val="tx1"/>
                </a:solidFill>
                <a:latin typeface="Segoe UI Semibold" panose="020B0702040204020203" pitchFamily="34" charset="0"/>
                <a:cs typeface="Segoe UI Semibold" panose="020B0702040204020203" pitchFamily="34" charset="0"/>
              </a:rPr>
            </a:br>
            <a:r>
              <a:rPr lang="en-US" sz="2800" cap="none" spc="-100" dirty="0">
                <a:solidFill>
                  <a:schemeClr val="tx1"/>
                </a:solidFill>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inkedIn as a source for creating mobile applications </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s starting point to create contextual apps</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2</TotalTime>
  <Words>10146</Words>
  <Application>Microsoft Office PowerPoint</Application>
  <PresentationFormat>Widescreen</PresentationFormat>
  <Paragraphs>1173</Paragraphs>
  <Slides>223</Slides>
  <Notes>211</Notes>
  <HiddenSlides>8</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223</vt:i4>
      </vt:variant>
    </vt:vector>
  </HeadingPairs>
  <TitlesOfParts>
    <vt:vector size="242" baseType="lpstr">
      <vt:lpstr>Arial</vt:lpstr>
      <vt:lpstr>Calibri</vt:lpstr>
      <vt:lpstr>Calibri Light</vt:lpstr>
      <vt:lpstr>Century Gothic</vt:lpstr>
      <vt:lpstr>Consolas</vt:lpstr>
      <vt:lpstr>DIN</vt:lpstr>
      <vt:lpstr>Gill Sans</vt:lpstr>
      <vt:lpstr>Gotham Light</vt:lpstr>
      <vt:lpstr>Segoe UI</vt:lpstr>
      <vt:lpstr>Segoe UI (Body)</vt:lpstr>
      <vt:lpstr>Segoe UI Historic</vt:lpstr>
      <vt:lpstr>Segoe UI Light</vt:lpstr>
      <vt:lpstr>Segoe UI Semibold</vt:lpstr>
      <vt:lpstr>Segoe UI Semilight</vt:lpstr>
      <vt:lpstr>Wingdings</vt:lpstr>
      <vt:lpstr>Office Theme</vt:lpstr>
      <vt:lpstr>1_Office Theme</vt:lpstr>
      <vt:lpstr>2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ram Fleitas</dc:creator>
  <cp:lastModifiedBy>Hiram Fleitas</cp:lastModifiedBy>
  <cp:revision>24</cp:revision>
  <dcterms:created xsi:type="dcterms:W3CDTF">2019-05-23T20:01:45Z</dcterms:created>
  <dcterms:modified xsi:type="dcterms:W3CDTF">2019-05-24T06:32:01Z</dcterms:modified>
</cp:coreProperties>
</file>